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256" r:id="rId2"/>
    <p:sldId id="288" r:id="rId3"/>
    <p:sldId id="289" r:id="rId4"/>
    <p:sldId id="290" r:id="rId5"/>
    <p:sldId id="296" r:id="rId6"/>
    <p:sldId id="292" r:id="rId7"/>
    <p:sldId id="294" r:id="rId8"/>
    <p:sldId id="270" r:id="rId9"/>
    <p:sldId id="297" r:id="rId10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41D400D-74C4-4FC1-B737-AB18EFE1895A}">
          <p14:sldIdLst>
            <p14:sldId id="256"/>
            <p14:sldId id="288"/>
            <p14:sldId id="289"/>
            <p14:sldId id="290"/>
            <p14:sldId id="296"/>
            <p14:sldId id="292"/>
            <p14:sldId id="294"/>
            <p14:sldId id="270"/>
            <p14:sldId id="2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000" autoAdjust="0"/>
  </p:normalViewPr>
  <p:slideViewPr>
    <p:cSldViewPr>
      <p:cViewPr>
        <p:scale>
          <a:sx n="100" d="100"/>
          <a:sy n="100" d="100"/>
        </p:scale>
        <p:origin x="946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42" d="100"/>
          <a:sy n="42" d="100"/>
        </p:scale>
        <p:origin x="-2242" y="-86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C98EA0A8-A6B3-4B80-8E51-D2C1791A1B02}" type="datetimeFigureOut">
              <a:rPr lang="en-US" smtClean="0"/>
              <a:pPr/>
              <a:t>12/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EC6E038-9667-45EB-B0BA-EE59CA06C0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998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783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945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0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7863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225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69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038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K,</a:t>
            </a:r>
            <a:r>
              <a:rPr lang="en-US" baseline="0" dirty="0" smtClean="0"/>
              <a:t> that is the roughly introduction of this lab course. Next, I will introduce snake robot to you in four aspects.</a:t>
            </a:r>
          </a:p>
          <a:p>
            <a:r>
              <a:rPr lang="en-US" baseline="0" dirty="0" smtClean="0"/>
              <a:t>And then you can introduce yourself and tell us your strength, which part you are good a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C6E038-9667-45EB-B0BA-EE59CA06C00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19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farm3.staticflickr.com/2584/4044330746_bdd7399b5b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128448"/>
            <a:ext cx="9144000" cy="27432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1219200"/>
            <a:ext cx="7772400" cy="14700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2" name="Picture 2" descr="http://aesir-interactive.de/skins/ai_custom/rsc/img/projects/scchess/TUM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6485" y="152400"/>
            <a:ext cx="2209800" cy="714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1" descr="https://www6.in.tum.de/pub/Internal/Logo/knoll-blue-r1l-en-300dpi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76200" y="-152400"/>
            <a:ext cx="4625818" cy="126205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8229600" cy="46783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D8C85A1-7B3D-48A6-BF42-6702326C8110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A3A6DB5-2F5F-4203-8D20-DC71001BBF0E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sp>
        <p:nvSpPr>
          <p:cNvPr id="13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029200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/>
            </a:lvl1pPr>
            <a:lvl2pPr>
              <a:buFont typeface="Courier New" pitchFamily="49" charset="0"/>
              <a:buChar char="o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90600" y="6416675"/>
            <a:ext cx="1981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n-US" dirty="0" err="1" smtClean="0"/>
              <a:t>Kai.Huang@tu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172200" y="6416675"/>
            <a:ext cx="18288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7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Placeholder 1"/>
          <p:cNvSpPr>
            <a:spLocks noGrp="1"/>
          </p:cNvSpPr>
          <p:nvPr userDrawn="1"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9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73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2459394-D483-4A2B-9C82-392E9346CE41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4906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F6DF9CD-1A54-4CE0-8046-53A493BD6EBA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12" name="Title Placeholder 1"/>
          <p:cNvSpPr txBox="1">
            <a:spLocks/>
          </p:cNvSpPr>
          <p:nvPr userDrawn="1"/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8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Date Placeholder 3"/>
          <p:cNvSpPr txBox="1">
            <a:spLocks/>
          </p:cNvSpPr>
          <p:nvPr userDrawn="1"/>
        </p:nvSpPr>
        <p:spPr>
          <a:xfrm>
            <a:off x="990600" y="6416675"/>
            <a:ext cx="1981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D96F5B-854F-438F-9A1E-A7BDCD1E2656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4/2015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ai.Huang@tu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6172200" y="6416675"/>
            <a:ext cx="18288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228600"/>
            <a:ext cx="9144000" cy="914400"/>
          </a:xfrm>
          <a:prstGeom prst="rect">
            <a:avLst/>
          </a:prstGeom>
          <a:solidFill>
            <a:srgbClr val="DEDED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+mn-lt"/>
              <a:ea typeface="+mn-ea"/>
            </a:endParaRPr>
          </a:p>
        </p:txBody>
      </p:sp>
      <p:pic>
        <p:nvPicPr>
          <p:cNvPr id="11" name="Picture 10" descr="tum_bu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324600"/>
            <a:ext cx="9144000" cy="533400"/>
          </a:xfrm>
          <a:prstGeom prst="rect">
            <a:avLst/>
          </a:prstGeom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1860" y="6296610"/>
            <a:ext cx="813540" cy="561390"/>
          </a:xfrm>
          <a:prstGeom prst="rect">
            <a:avLst/>
          </a:prstGeom>
          <a:noFill/>
        </p:spPr>
      </p:pic>
      <p:pic>
        <p:nvPicPr>
          <p:cNvPr id="13" name="Picture 8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6324600"/>
            <a:ext cx="533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tum_top_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9144000" cy="380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3800" b="1">
                <a:solidFill>
                  <a:srgbClr val="7030A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4040188" cy="63976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81200"/>
            <a:ext cx="4040188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219200"/>
            <a:ext cx="4041775" cy="6397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81200"/>
            <a:ext cx="4041775" cy="4144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>
          <a:xfrm>
            <a:off x="990600" y="6416675"/>
            <a:ext cx="19812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r>
              <a:rPr lang="en-US" dirty="0" err="1" smtClean="0"/>
              <a:t>Kai.Huang@tum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172200" y="6416675"/>
            <a:ext cx="18288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algn="ctr"/>
            <a:fld id="{B6F15528-21DE-4FAA-801E-634DDDAF4B2B}" type="slidenum">
              <a:rPr lang="en-US" smtClean="0"/>
              <a:pPr algn="ctr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BF8AA19-4C96-470D-8883-51962896AF95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495267B-2748-4AF0-B3C8-7FE373CF37C8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0FBFA45-36AD-4652-8EA1-4975A5A4D76E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0D80DB-C2C7-443A-915C-2CC17F74EB69}" type="datetime1">
              <a:rPr lang="en-US" smtClean="0"/>
              <a:pPr/>
              <a:t>12/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Kai.Huang@tum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1371600" y="3200400"/>
            <a:ext cx="6172200" cy="8382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algn="ctr">
              <a:buNone/>
            </a:pPr>
            <a:r>
              <a:rPr lang="en-U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Long Cheng</a:t>
            </a:r>
            <a:endParaRPr lang="en-US" b="1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-228600" y="1577975"/>
            <a:ext cx="9677400" cy="1470025"/>
          </a:xfrm>
        </p:spPr>
        <p:txBody>
          <a:bodyPr/>
          <a:lstStyle/>
          <a:p>
            <a:r>
              <a:rPr lang="en-US" sz="4000" dirty="0" smtClean="0">
                <a:latin typeface="Calibri" pitchFamily="34" charset="0"/>
                <a:cs typeface="Calibri" pitchFamily="34" charset="0"/>
              </a:rPr>
              <a:t>The schematic of the wire connection </a:t>
            </a:r>
            <a:br>
              <a:rPr lang="en-US" sz="4000" dirty="0" smtClean="0">
                <a:latin typeface="Calibri" pitchFamily="34" charset="0"/>
                <a:cs typeface="Calibri" pitchFamily="34" charset="0"/>
              </a:rPr>
            </a:br>
            <a:r>
              <a:rPr lang="en-US" sz="4000" dirty="0" smtClean="0">
                <a:latin typeface="Calibri" pitchFamily="34" charset="0"/>
                <a:cs typeface="Calibri" pitchFamily="34" charset="0"/>
              </a:rPr>
              <a:t>in the </a:t>
            </a:r>
            <a:r>
              <a:rPr lang="en-US" sz="4000" dirty="0" smtClean="0">
                <a:latin typeface="Calibri" pitchFamily="34" charset="0"/>
                <a:cs typeface="Calibri" pitchFamily="34" charset="0"/>
              </a:rPr>
              <a:t>module</a:t>
            </a:r>
            <a:r>
              <a:rPr lang="en-US" sz="40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n-US" sz="4000" dirty="0" smtClean="0">
                <a:latin typeface="Calibri" pitchFamily="34" charset="0"/>
                <a:cs typeface="Calibri" pitchFamily="34" charset="0"/>
              </a:rPr>
            </a:br>
            <a:endParaRPr 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2400" dirty="0" smtClean="0"/>
              <a:t>Each module has a switch on the output of the battery.</a:t>
            </a:r>
          </a:p>
          <a:p>
            <a:r>
              <a:rPr lang="en-US" altLang="zh-CN" sz="2400" dirty="0" smtClean="0"/>
              <a:t>Manually control the switch?</a:t>
            </a:r>
          </a:p>
          <a:p>
            <a:endParaRPr lang="en-US" altLang="zh-CN" sz="2400" dirty="0" smtClean="0"/>
          </a:p>
          <a:p>
            <a:r>
              <a:rPr lang="en-US" altLang="zh-CN" sz="2400" dirty="0" smtClean="0"/>
              <a:t>The switch should be controlled by the previous module, and we only control the switch in the first module.</a:t>
            </a:r>
            <a:endParaRPr lang="en-US" altLang="zh-CN" sz="2400" dirty="0"/>
          </a:p>
          <a:p>
            <a:r>
              <a:rPr lang="en-US" altLang="zh-CN" sz="2400" dirty="0" smtClean="0"/>
              <a:t>Relay</a:t>
            </a:r>
          </a:p>
          <a:p>
            <a:endParaRPr lang="en-US" altLang="zh-CN" sz="2400" dirty="0"/>
          </a:p>
          <a:p>
            <a:endParaRPr lang="en-US" altLang="zh-CN" sz="2400" dirty="0" smtClean="0"/>
          </a:p>
          <a:p>
            <a:endParaRPr lang="en-US" altLang="zh-CN" sz="2400" dirty="0"/>
          </a:p>
          <a:p>
            <a:endParaRPr lang="en-US" altLang="zh-CN" sz="2400" dirty="0" smtClean="0"/>
          </a:p>
          <a:p>
            <a:r>
              <a:rPr lang="en-US" altLang="zh-CN" sz="2400" dirty="0" smtClean="0"/>
              <a:t>V</a:t>
            </a:r>
            <a:r>
              <a:rPr lang="en-US" altLang="zh-CN" sz="2400" baseline="-25000" dirty="0" smtClean="0"/>
              <a:t>35</a:t>
            </a:r>
            <a:r>
              <a:rPr lang="en-US" altLang="zh-CN" sz="2400" dirty="0" smtClean="0"/>
              <a:t> &gt; 5V,  pin 1 and pin7 are connected</a:t>
            </a:r>
            <a:endParaRPr lang="en-US" altLang="zh-CN" sz="2400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altLang="zh-CN" dirty="0"/>
              <a:t>chengl@in.tum.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2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witch</a:t>
            </a:r>
            <a:endParaRPr lang="zh-CN" alt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3810000"/>
            <a:ext cx="2971800" cy="145183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6082" y="3733801"/>
            <a:ext cx="2957633" cy="152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020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zh-CN" sz="2400" dirty="0" smtClean="0">
                <a:solidFill>
                  <a:srgbClr val="C00000"/>
                </a:solidFill>
              </a:rPr>
              <a:t>Connect the master board or the board at first module to the computer.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 smtClean="0">
                <a:solidFill>
                  <a:srgbClr val="C00000"/>
                </a:solidFill>
              </a:rPr>
              <a:t>The board controls its relay to switch on.</a:t>
            </a:r>
            <a:r>
              <a:rPr lang="zh-CN" altLang="en-US" sz="2400" dirty="0">
                <a:solidFill>
                  <a:srgbClr val="C00000"/>
                </a:solidFill>
              </a:rPr>
              <a:t> </a:t>
            </a:r>
            <a:endParaRPr lang="en-US" altLang="zh-CN" sz="2400" dirty="0" smtClean="0">
              <a:solidFill>
                <a:srgbClr val="C00000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 smtClean="0">
                <a:solidFill>
                  <a:srgbClr val="C00000"/>
                </a:solidFill>
              </a:rPr>
              <a:t>Then,  the switch-output pins from the master module or the first module are connected to its battery. The voltage is about 8V.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>
                <a:solidFill>
                  <a:srgbClr val="C00000"/>
                </a:solidFill>
              </a:rPr>
              <a:t>T</a:t>
            </a:r>
            <a:r>
              <a:rPr lang="en-US" altLang="zh-CN" sz="2400" dirty="0" smtClean="0">
                <a:solidFill>
                  <a:srgbClr val="C00000"/>
                </a:solidFill>
              </a:rPr>
              <a:t>he </a:t>
            </a:r>
            <a:r>
              <a:rPr lang="en-US" altLang="zh-CN" sz="2400" dirty="0">
                <a:solidFill>
                  <a:srgbClr val="C00000"/>
                </a:solidFill>
              </a:rPr>
              <a:t>switch-output </a:t>
            </a:r>
            <a:r>
              <a:rPr lang="en-US" altLang="zh-CN" sz="2400" dirty="0" smtClean="0">
                <a:solidFill>
                  <a:srgbClr val="C00000"/>
                </a:solidFill>
              </a:rPr>
              <a:t>pins are connected the to pin3 and pin 5 of the relay in next module.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 smtClean="0">
                <a:solidFill>
                  <a:srgbClr val="C00000"/>
                </a:solidFill>
              </a:rPr>
              <a:t>The relay in next module is switched on.</a:t>
            </a:r>
          </a:p>
          <a:p>
            <a:pPr marL="457200" indent="-457200">
              <a:buFont typeface="+mj-lt"/>
              <a:buAutoNum type="arabicPeriod"/>
            </a:pPr>
            <a:r>
              <a:rPr lang="en-US" altLang="zh-CN" sz="2400" dirty="0" smtClean="0">
                <a:solidFill>
                  <a:srgbClr val="C00000"/>
                </a:solidFill>
              </a:rPr>
              <a:t>Similar to the step 2-5, all the modules are powered on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altLang="zh-CN" dirty="0"/>
              <a:t>chengl@in.tum.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ower on the snake robo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56039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676400"/>
            <a:ext cx="3007841" cy="4010455"/>
          </a:xfr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altLang="zh-CN" dirty="0"/>
              <a:t>chengl@in.tum.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he </a:t>
            </a:r>
            <a:r>
              <a:rPr lang="en-US" altLang="zh-CN" dirty="0" smtClean="0"/>
              <a:t>battery</a:t>
            </a:r>
            <a:endParaRPr lang="zh-CN" alt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1712098"/>
            <a:ext cx="2981068" cy="397475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19200" y="1994887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/>
              <a:t>output</a:t>
            </a:r>
            <a:endParaRPr lang="zh-CN" alt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2057400" y="2756887"/>
            <a:ext cx="819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 smtClean="0"/>
              <a:t>charge</a:t>
            </a:r>
            <a:endParaRPr lang="zh-CN" altLang="en-US" b="1" dirty="0"/>
          </a:p>
        </p:txBody>
      </p:sp>
      <p:pic>
        <p:nvPicPr>
          <p:cNvPr id="11" name="Content Placeholder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128" y="1754619"/>
            <a:ext cx="3120272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892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dirty="0" smtClean="0"/>
              <a:t>chengl@in.tum.d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5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battery</a:t>
            </a:r>
            <a:endParaRPr lang="zh-CN" altLang="en-US" dirty="0"/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457200" y="3962400"/>
            <a:ext cx="8229600" cy="16002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 dirty="0" smtClean="0"/>
          </a:p>
          <a:p>
            <a:endParaRPr lang="zh-CN" alt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1600"/>
            <a:ext cx="9186936" cy="48006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3910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Switch</a:t>
            </a:r>
            <a:endParaRPr lang="en-US" altLang="zh-CN" dirty="0" smtClean="0"/>
          </a:p>
          <a:p>
            <a:pPr lvl="1"/>
            <a:endParaRPr lang="en-US" altLang="zh-CN" dirty="0" smtClean="0"/>
          </a:p>
          <a:p>
            <a:r>
              <a:rPr lang="en-US" altLang="zh-CN" dirty="0" smtClean="0"/>
              <a:t>Battery</a:t>
            </a:r>
          </a:p>
          <a:p>
            <a:pPr lvl="1"/>
            <a:r>
              <a:rPr lang="en-US" altLang="zh-CN" dirty="0" smtClean="0"/>
              <a:t>Output</a:t>
            </a:r>
          </a:p>
          <a:p>
            <a:pPr lvl="1"/>
            <a:r>
              <a:rPr lang="en-US" altLang="zh-CN" dirty="0" smtClean="0"/>
              <a:t>Charge </a:t>
            </a:r>
            <a:endParaRPr lang="en-US" altLang="zh-CN" dirty="0" smtClean="0"/>
          </a:p>
          <a:p>
            <a:endParaRPr lang="en-US" altLang="zh-CN" dirty="0"/>
          </a:p>
          <a:p>
            <a:r>
              <a:rPr lang="en-US" altLang="zh-CN" dirty="0" smtClean="0"/>
              <a:t>Arduino Nano connection to servo, angle sensor, bus.</a:t>
            </a:r>
            <a:endParaRPr lang="en-US" altLang="zh-CN" dirty="0" smtClean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altLang="zh-CN" dirty="0"/>
              <a:t>chengl@in.tum.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6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he PCB board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193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219200"/>
            <a:ext cx="6705600" cy="5029200"/>
          </a:xfr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altLang="zh-CN" dirty="0"/>
              <a:t>chengl@in.tum.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7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The PCB board</a:t>
            </a:r>
            <a:endParaRPr lang="zh-CN" alt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362200" y="3549134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chemeClr val="bg1"/>
                </a:solidFill>
              </a:rPr>
              <a:t>Nano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52800" y="3225839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Angle sensor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096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143000"/>
            <a:ext cx="3771900" cy="5029200"/>
          </a:xfr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dirty="0" smtClean="0"/>
              <a:t>chengl@in.tum.d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PCB board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209800" y="3962400"/>
            <a:ext cx="152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FF0000"/>
                </a:solidFill>
              </a:rPr>
              <a:t>charge</a:t>
            </a:r>
            <a:endParaRPr lang="zh-CN" altLang="en-US" sz="1600" b="1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57400" y="4585166"/>
            <a:ext cx="1676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err="1" smtClean="0">
                <a:solidFill>
                  <a:srgbClr val="FF0000"/>
                </a:solidFill>
              </a:rPr>
              <a:t>Previous_charge</a:t>
            </a:r>
            <a:endParaRPr lang="zh-CN" altLang="en-US" sz="1600" b="1" dirty="0">
              <a:solidFill>
                <a:srgbClr val="FF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356" y="1161097"/>
            <a:ext cx="3779044" cy="50387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355080" y="2791629"/>
            <a:ext cx="1676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err="1" smtClean="0">
                <a:solidFill>
                  <a:srgbClr val="FF0000"/>
                </a:solidFill>
              </a:rPr>
              <a:t>Previous_charge</a:t>
            </a:r>
            <a:endParaRPr lang="zh-CN" altLang="en-US" sz="1600" b="1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858000" y="3680460"/>
            <a:ext cx="7429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switch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15100" y="3488323"/>
            <a:ext cx="533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/>
              <a:t>bus</a:t>
            </a:r>
            <a:endParaRPr lang="zh-CN" altLang="en-US" sz="16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4724400" y="2895600"/>
            <a:ext cx="1676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ext_</a:t>
            </a:r>
          </a:p>
          <a:p>
            <a:r>
              <a:rPr lang="en-US" altLang="zh-CN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arge</a:t>
            </a:r>
          </a:p>
          <a:p>
            <a:r>
              <a:rPr lang="en-US" altLang="zh-CN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witch</a:t>
            </a:r>
          </a:p>
          <a:p>
            <a:r>
              <a:rPr lang="en-US" altLang="zh-CN" sz="1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us</a:t>
            </a:r>
          </a:p>
          <a:p>
            <a:endParaRPr lang="zh-CN" alt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400" y="1249997"/>
            <a:ext cx="3771900" cy="5029200"/>
          </a:xfr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04D96F5B-854F-438F-9A1E-A7BDCD1E2656}" type="datetime1">
              <a:rPr lang="en-US" smtClean="0"/>
              <a:pPr algn="ctr"/>
              <a:t>12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en-US" dirty="0" err="1" smtClean="0"/>
              <a:t>chengl@tu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B6F15528-21DE-4FAA-801E-634DDDAF4B2B}" type="slidenum">
              <a:rPr lang="en-US" smtClean="0"/>
              <a:pPr algn="ctr"/>
              <a:t>9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PCB board</a:t>
            </a:r>
            <a:endParaRPr lang="zh-CN" alt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85" y="1249997"/>
            <a:ext cx="3739515" cy="4986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639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es9ttBlkCuI_Kjkw8l9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02</TotalTime>
  <Words>273</Words>
  <Application>Microsoft Office PowerPoint</Application>
  <PresentationFormat>On-screen Show (4:3)</PresentationFormat>
  <Paragraphs>81</Paragraphs>
  <Slides>9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宋体</vt:lpstr>
      <vt:lpstr>Arial</vt:lpstr>
      <vt:lpstr>Calibri</vt:lpstr>
      <vt:lpstr>Courier New</vt:lpstr>
      <vt:lpstr>Wingdings</vt:lpstr>
      <vt:lpstr>Office Theme</vt:lpstr>
      <vt:lpstr>The schematic of the wire connection  in the module </vt:lpstr>
      <vt:lpstr>Switch</vt:lpstr>
      <vt:lpstr>Power on the snake robot</vt:lpstr>
      <vt:lpstr>The battery</vt:lpstr>
      <vt:lpstr>The battery</vt:lpstr>
      <vt:lpstr>The PCB board</vt:lpstr>
      <vt:lpstr>The PCB board</vt:lpstr>
      <vt:lpstr>The PCB board</vt:lpstr>
      <vt:lpstr>The PCB board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huangk</dc:creator>
  <cp:lastModifiedBy>Long</cp:lastModifiedBy>
  <cp:revision>797</cp:revision>
  <dcterms:created xsi:type="dcterms:W3CDTF">2006-08-16T00:00:00Z</dcterms:created>
  <dcterms:modified xsi:type="dcterms:W3CDTF">2015-12-04T10:23:19Z</dcterms:modified>
</cp:coreProperties>
</file>